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7" r:id="rId4"/>
    <p:sldMasterId id="2147483724" r:id="rId5"/>
  </p:sldMasterIdLst>
  <p:notesMasterIdLst>
    <p:notesMasterId r:id="rId18"/>
  </p:notesMasterIdLst>
  <p:sldIdLst>
    <p:sldId id="323" r:id="rId6"/>
    <p:sldId id="324" r:id="rId7"/>
    <p:sldId id="327" r:id="rId8"/>
    <p:sldId id="325" r:id="rId9"/>
    <p:sldId id="326" r:id="rId10"/>
    <p:sldId id="332" r:id="rId11"/>
    <p:sldId id="329" r:id="rId12"/>
    <p:sldId id="330" r:id="rId13"/>
    <p:sldId id="331" r:id="rId14"/>
    <p:sldId id="328" r:id="rId15"/>
    <p:sldId id="334" r:id="rId16"/>
    <p:sldId id="333" r:id="rId17"/>
  </p:sldIdLst>
  <p:sldSz cx="12192000" cy="6858000"/>
  <p:notesSz cx="7010400" cy="92964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3B3"/>
    <a:srgbClr val="FFFF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13" autoAdjust="0"/>
    <p:restoredTop sz="94250" autoAdjust="0"/>
  </p:normalViewPr>
  <p:slideViewPr>
    <p:cSldViewPr snapToGrid="0" snapToObjects="1">
      <p:cViewPr>
        <p:scale>
          <a:sx n="75" d="100"/>
          <a:sy n="75" d="100"/>
        </p:scale>
        <p:origin x="36" y="-2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38" d="100"/>
          <a:sy n="138" d="100"/>
        </p:scale>
        <p:origin x="5288" y="176"/>
      </p:cViewPr>
      <p:guideLst>
        <p:guide orient="horz" pos="2880"/>
        <p:guide pos="2160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901840490797549E-2"/>
          <c:y val="5.3663570691434466E-2"/>
          <c:w val="0.93619631901840494"/>
          <c:h val="0.8926728586171309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35224</c:v>
                </c:pt>
                <c:pt idx="1">
                  <c:v>587292</c:v>
                </c:pt>
                <c:pt idx="2">
                  <c:v>535742</c:v>
                </c:pt>
                <c:pt idx="3">
                  <c:v>93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15-4755-A3CF-6A88E6A268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81220872"/>
        <c:axId val="1"/>
      </c:barChart>
      <c:catAx>
        <c:axId val="4812208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522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81220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6E2920D-FEC4-BC49-ACC0-C791258D7044}" type="datetimeFigureOut">
              <a:rPr lang="en-US" smtClean="0"/>
              <a:t>5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26CD29C-C66E-5E4E-8BB1-E1C6E59D2CE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273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informationisbeautiful.net/visualizations/the-microbescope-infectious-diseases-in-context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iencealert.com/experts-are-puzzled-over-why-so-few-children-have-caught-coronavirus-so-far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nature.com/articles/d41586-020-00154-w#ref-CR3" TargetMode="External"/><Relationship Id="rId4" Type="http://schemas.openxmlformats.org/officeDocument/2006/relationships/hyperlink" Target="https://www.nejm.org/doi/full/10.1056/NEJMoa2001316#article_reference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bcnews.go.com/Health/risk-severe-covid-19-increases-decade-age/story?id=69914642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health.ebsco.com/blog/article/considerations-for-covid-19-in-patients-pre-existing-high-risk-condition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leconomista.com.mx/politica/Saturacion-en-hospitales-que-atienden-a-pacientes-con-coronavirus-en-CDMX-durante-pico-de-contagio-20200509-0021.html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politica.expansion.mx/cdmx/2020/05/12/sin-disponibilidad-42-hospitales-del-valle-de-mexico-para-pacientes-covid-19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informationisbeautiful.net/visualizations/the-microbescope-infectious-diseases-in-context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8157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ciencealert.com/experts-are-puzzled-over-why-so-few-children-have-caught-coronavirus-so-far</a:t>
            </a:r>
            <a:endParaRPr lang="en-US" dirty="0"/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utbreak was first reported on December 31, but no children younger than 15 years old had been diagnosed as of January 22. A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 study in the </a:t>
            </a:r>
            <a:r>
              <a:rPr lang="en-US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New England Journal of Medicin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aid at the time that "children might be less likely to become infected or, if infected, may show milder symptoms" than adults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ce then, doctors have recorded a few one-off cases among children: a 9-month-old girl in Beijing, a child in Germany whose father was diagnosed with the virus first, and a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child in Shenzhe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hina, who was infected but displayed no symptoms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 Wednesday, Chinese authorities confirmed that an infant in Wuhan, China, had tested positive for the virus 30 hours after being born; the baby's mother is a coronavirus patient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for the most part, kids do not seem very vulnerable to the viru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6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bcnews.go.com/Health/risk-severe-covid-19-increases-decade-age/story?id=69914642</a:t>
            </a:r>
            <a:endParaRPr lang="en-US" dirty="0"/>
          </a:p>
          <a:p>
            <a:endParaRPr lang="es-MX" dirty="0"/>
          </a:p>
          <a:p>
            <a:r>
              <a:rPr lang="en-US" dirty="0">
                <a:hlinkClick r:id="rId4"/>
              </a:rPr>
              <a:t>https://health.ebsco.com/blog/article/considerations-for-covid-19-in-patients-pre-existing-high-risk-condi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3902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eleconomista.com.mx/politica/Saturacion-en-hospitales-que-atienden-a-pacientes-con-coronavirus-en-CDMX-durante-pico-de-contagio-20200509-0021.html</a:t>
            </a:r>
            <a:endParaRPr lang="en-US" dirty="0"/>
          </a:p>
          <a:p>
            <a:r>
              <a:rPr lang="en-US" dirty="0">
                <a:hlinkClick r:id="rId4"/>
              </a:rPr>
              <a:t>https://politica.expansion.mx/cdmx/2020/05/12/sin-disponibilidad-42-hospitales-del-valle-de-mexico-para-pacientes-covid-19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271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87569" y="3429000"/>
            <a:ext cx="11816862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789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87569" y="2633734"/>
            <a:ext cx="11816862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8588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2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5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boxes /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11977419" y="76200"/>
            <a:ext cx="215900" cy="666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37160"/>
            <a:ext cx="10566400" cy="3794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203200" y="484632"/>
            <a:ext cx="10566400" cy="354208"/>
          </a:xfrm>
          <a:noFill/>
          <a:ln w="9525">
            <a:noFill/>
            <a:miter lim="800000"/>
            <a:headEnd/>
            <a:tailEnd/>
          </a:ln>
        </p:spPr>
        <p:txBody>
          <a:bodyPr lIns="17998" tIns="10799" rIns="17998" bIns="10799" anchor="b"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kumimoji="1" lang="en-US" sz="2400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/>
          </p:nvPr>
        </p:nvSpPr>
        <p:spPr>
          <a:xfrm>
            <a:off x="182880" y="1219199"/>
            <a:ext cx="5852160" cy="139486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965200" rtl="0" eaLnBrk="0" fontAlgn="base" hangingPunct="0">
              <a:spcAft>
                <a:spcPct val="0"/>
              </a:spcAft>
              <a:defRPr kumimoji="1" lang="en-US" sz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65200" rtl="0" eaLnBrk="0" fontAlgn="base" hangingPunct="0">
              <a:spcAft>
                <a:spcPct val="0"/>
              </a:spcAft>
              <a:defRPr kumimoji="1"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6167120" y="1219200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13"/>
          </p:nvPr>
        </p:nvSpPr>
        <p:spPr>
          <a:xfrm>
            <a:off x="18288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5"/>
          </p:nvPr>
        </p:nvSpPr>
        <p:spPr>
          <a:xfrm>
            <a:off x="616712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65552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Texto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84"/>
          <p:cNvSpPr>
            <a:spLocks noGrp="1" noChangeArrowheads="1"/>
          </p:cNvSpPr>
          <p:nvPr>
            <p:ph idx="1" hasCustomPrompt="1"/>
          </p:nvPr>
        </p:nvSpPr>
        <p:spPr bwMode="gray">
          <a:xfrm>
            <a:off x="336003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ts val="0"/>
              </a:spcBef>
              <a:defRPr>
                <a:solidFill>
                  <a:srgbClr val="002D72"/>
                </a:solidFill>
              </a:defRPr>
            </a:lvl1pPr>
            <a:lvl2pPr marL="355600" indent="-177800">
              <a:spcBef>
                <a:spcPts val="0"/>
              </a:spcBef>
              <a:defRPr>
                <a:solidFill>
                  <a:srgbClr val="002D72"/>
                </a:solidFill>
              </a:defRPr>
            </a:lvl2pPr>
            <a:lvl3pPr marL="531813" indent="-176213">
              <a:spcBef>
                <a:spcPts val="0"/>
              </a:spcBef>
              <a:defRPr>
                <a:solidFill>
                  <a:srgbClr val="002D72"/>
                </a:solidFill>
              </a:defRPr>
            </a:lvl3pPr>
            <a:lvl4pPr marL="717550" indent="-185738">
              <a:spcBef>
                <a:spcPts val="0"/>
              </a:spcBef>
              <a:defRPr>
                <a:solidFill>
                  <a:srgbClr val="002D72"/>
                </a:solidFill>
              </a:defRPr>
            </a:lvl4pPr>
            <a:lvl5pPr>
              <a:spcBef>
                <a:spcPts val="0"/>
              </a:spcBef>
              <a:defRPr>
                <a:solidFill>
                  <a:srgbClr val="002D72"/>
                </a:solidFill>
              </a:defRPr>
            </a:lvl5pPr>
            <a:lvl6pPr>
              <a:spcBef>
                <a:spcPts val="0"/>
              </a:spcBef>
              <a:defRPr>
                <a:solidFill>
                  <a:srgbClr val="002D72"/>
                </a:solidFill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18" name="19 Marcador de título"/>
          <p:cNvSpPr>
            <a:spLocks noGrp="1"/>
          </p:cNvSpPr>
          <p:nvPr>
            <p:ph type="title"/>
          </p:nvPr>
        </p:nvSpPr>
        <p:spPr>
          <a:xfrm>
            <a:off x="339520" y="72000"/>
            <a:ext cx="11521280" cy="5400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0" indent="0">
              <a:defRPr>
                <a:solidFill>
                  <a:srgbClr val="002D72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US" noProof="0" dirty="0"/>
          </a:p>
        </p:txBody>
      </p:sp>
      <p:sp>
        <p:nvSpPr>
          <p:cNvPr id="21" name="Rectangle 84"/>
          <p:cNvSpPr>
            <a:spLocks noGrp="1" noChangeArrowheads="1"/>
          </p:cNvSpPr>
          <p:nvPr>
            <p:ph idx="13" hasCustomPrompt="1"/>
          </p:nvPr>
        </p:nvSpPr>
        <p:spPr bwMode="gray">
          <a:xfrm>
            <a:off x="6292822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63513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‒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0225" indent="-174625" algn="l" defTabSz="914400" rtl="0" eaLnBrk="1" latinLnBrk="0" hangingPunct="1"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7550" indent="-185738" algn="l" defTabSz="914400" rtl="0" eaLnBrk="1" latinLnBrk="0" hangingPunct="1">
              <a:spcBef>
                <a:spcPts val="0"/>
              </a:spcBef>
              <a:buSzPct val="70000"/>
              <a:buFont typeface="Courier New" panose="02070309020205020404" pitchFamily="49" charset="0"/>
              <a:buChar char="o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8525" indent="-176213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»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77913" indent="-177800" algn="l" defTabSz="914400" rtl="0" eaLnBrk="1" latinLnBrk="0" hangingPunct="1">
              <a:spcBef>
                <a:spcPts val="0"/>
              </a:spcBef>
              <a:buSzPct val="9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26" name="4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635050"/>
            <a:ext cx="11520000" cy="396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noProof="0"/>
              <a:t>Haga clic para modificar el estilo de texto del patrón</a:t>
            </a: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gray">
          <a:xfrm>
            <a:off x="331200" y="612008"/>
            <a:ext cx="11529600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1" dirty="0">
              <a:solidFill>
                <a:srgbClr val="000000"/>
              </a:solidFill>
              <a:latin typeface="Calibri"/>
              <a:ea typeface="+mn-ea"/>
              <a:cs typeface="Arial" pitchFamily="34" charset="0"/>
            </a:endParaRPr>
          </a:p>
        </p:txBody>
      </p:sp>
      <p:cxnSp>
        <p:nvCxnSpPr>
          <p:cNvPr id="13" name="12 Conector recto"/>
          <p:cNvCxnSpPr/>
          <p:nvPr/>
        </p:nvCxnSpPr>
        <p:spPr bwMode="auto">
          <a:xfrm>
            <a:off x="331200" y="1052736"/>
            <a:ext cx="11529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68608" y="6678000"/>
            <a:ext cx="528000" cy="18000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E2D84E2-A907-4768-A70E-F937D9B7DD1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3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218977" y="6409050"/>
            <a:ext cx="10677557" cy="365125"/>
          </a:xfrm>
          <a:prstGeom prst="rect">
            <a:avLst/>
          </a:prstGeom>
        </p:spPr>
        <p:txBody>
          <a:bodyPr anchor="t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Source: XXXX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695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79752" y="6096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360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3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Line 14"/>
          <p:cNvSpPr>
            <a:spLocks noChangeShapeType="1"/>
          </p:cNvSpPr>
          <p:nvPr/>
        </p:nvSpPr>
        <p:spPr bwMode="auto">
          <a:xfrm>
            <a:off x="179752" y="4572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41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2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8755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boxes /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11977419" y="76200"/>
            <a:ext cx="215900" cy="666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37160"/>
            <a:ext cx="10566400" cy="3794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203200" y="484632"/>
            <a:ext cx="10566400" cy="354208"/>
          </a:xfrm>
          <a:noFill/>
          <a:ln w="9525">
            <a:noFill/>
            <a:miter lim="800000"/>
            <a:headEnd/>
            <a:tailEnd/>
          </a:ln>
        </p:spPr>
        <p:txBody>
          <a:bodyPr lIns="17998" tIns="10799" rIns="17998" bIns="10799" anchor="b"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kumimoji="1" lang="en-US" sz="2400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/>
          </p:nvPr>
        </p:nvSpPr>
        <p:spPr>
          <a:xfrm>
            <a:off x="182880" y="1219199"/>
            <a:ext cx="5852160" cy="139486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965200" rtl="0" eaLnBrk="0" fontAlgn="base" hangingPunct="0">
              <a:spcAft>
                <a:spcPct val="0"/>
              </a:spcAft>
              <a:defRPr kumimoji="1" lang="en-US" sz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65200" rtl="0" eaLnBrk="0" fontAlgn="base" hangingPunct="0">
              <a:spcAft>
                <a:spcPct val="0"/>
              </a:spcAft>
              <a:defRPr kumimoji="1"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6167120" y="1219200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13"/>
          </p:nvPr>
        </p:nvSpPr>
        <p:spPr>
          <a:xfrm>
            <a:off x="18288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5"/>
          </p:nvPr>
        </p:nvSpPr>
        <p:spPr>
          <a:xfrm>
            <a:off x="616712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45801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Texto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84"/>
          <p:cNvSpPr>
            <a:spLocks noGrp="1" noChangeArrowheads="1"/>
          </p:cNvSpPr>
          <p:nvPr>
            <p:ph idx="1" hasCustomPrompt="1"/>
          </p:nvPr>
        </p:nvSpPr>
        <p:spPr bwMode="gray">
          <a:xfrm>
            <a:off x="336003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ts val="0"/>
              </a:spcBef>
              <a:defRPr>
                <a:solidFill>
                  <a:srgbClr val="002D72"/>
                </a:solidFill>
              </a:defRPr>
            </a:lvl1pPr>
            <a:lvl2pPr marL="355600" indent="-177800">
              <a:spcBef>
                <a:spcPts val="0"/>
              </a:spcBef>
              <a:defRPr>
                <a:solidFill>
                  <a:srgbClr val="002D72"/>
                </a:solidFill>
              </a:defRPr>
            </a:lvl2pPr>
            <a:lvl3pPr marL="531813" indent="-176213">
              <a:spcBef>
                <a:spcPts val="0"/>
              </a:spcBef>
              <a:defRPr>
                <a:solidFill>
                  <a:srgbClr val="002D72"/>
                </a:solidFill>
              </a:defRPr>
            </a:lvl3pPr>
            <a:lvl4pPr marL="717550" indent="-185738">
              <a:spcBef>
                <a:spcPts val="0"/>
              </a:spcBef>
              <a:defRPr>
                <a:solidFill>
                  <a:srgbClr val="002D72"/>
                </a:solidFill>
              </a:defRPr>
            </a:lvl4pPr>
            <a:lvl5pPr>
              <a:spcBef>
                <a:spcPts val="0"/>
              </a:spcBef>
              <a:defRPr>
                <a:solidFill>
                  <a:srgbClr val="002D72"/>
                </a:solidFill>
              </a:defRPr>
            </a:lvl5pPr>
            <a:lvl6pPr>
              <a:spcBef>
                <a:spcPts val="0"/>
              </a:spcBef>
              <a:defRPr>
                <a:solidFill>
                  <a:srgbClr val="002D72"/>
                </a:solidFill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18" name="19 Marcador de título"/>
          <p:cNvSpPr>
            <a:spLocks noGrp="1"/>
          </p:cNvSpPr>
          <p:nvPr>
            <p:ph type="title"/>
          </p:nvPr>
        </p:nvSpPr>
        <p:spPr>
          <a:xfrm>
            <a:off x="339520" y="72000"/>
            <a:ext cx="11521280" cy="5400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0" indent="0">
              <a:defRPr>
                <a:solidFill>
                  <a:srgbClr val="002D72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US" noProof="0" dirty="0"/>
          </a:p>
        </p:txBody>
      </p:sp>
      <p:sp>
        <p:nvSpPr>
          <p:cNvPr id="21" name="Rectangle 84"/>
          <p:cNvSpPr>
            <a:spLocks noGrp="1" noChangeArrowheads="1"/>
          </p:cNvSpPr>
          <p:nvPr>
            <p:ph idx="13" hasCustomPrompt="1"/>
          </p:nvPr>
        </p:nvSpPr>
        <p:spPr bwMode="gray">
          <a:xfrm>
            <a:off x="6292822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63513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‒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0225" indent="-174625" algn="l" defTabSz="914400" rtl="0" eaLnBrk="1" latinLnBrk="0" hangingPunct="1"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7550" indent="-185738" algn="l" defTabSz="914400" rtl="0" eaLnBrk="1" latinLnBrk="0" hangingPunct="1">
              <a:spcBef>
                <a:spcPts val="0"/>
              </a:spcBef>
              <a:buSzPct val="70000"/>
              <a:buFont typeface="Courier New" panose="02070309020205020404" pitchFamily="49" charset="0"/>
              <a:buChar char="o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8525" indent="-176213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»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77913" indent="-177800" algn="l" defTabSz="914400" rtl="0" eaLnBrk="1" latinLnBrk="0" hangingPunct="1">
              <a:spcBef>
                <a:spcPts val="0"/>
              </a:spcBef>
              <a:buSzPct val="9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26" name="4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635050"/>
            <a:ext cx="11520000" cy="396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noProof="0"/>
              <a:t>Haga clic para modificar el estilo de texto del patrón</a:t>
            </a: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gray">
          <a:xfrm>
            <a:off x="331200" y="612008"/>
            <a:ext cx="11529600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1" dirty="0">
              <a:solidFill>
                <a:srgbClr val="000000"/>
              </a:solidFill>
              <a:latin typeface="Calibri"/>
              <a:ea typeface="+mn-ea"/>
              <a:cs typeface="Arial" pitchFamily="34" charset="0"/>
            </a:endParaRPr>
          </a:p>
        </p:txBody>
      </p:sp>
      <p:cxnSp>
        <p:nvCxnSpPr>
          <p:cNvPr id="13" name="12 Conector recto"/>
          <p:cNvCxnSpPr/>
          <p:nvPr/>
        </p:nvCxnSpPr>
        <p:spPr bwMode="auto">
          <a:xfrm>
            <a:off x="331200" y="1052736"/>
            <a:ext cx="11529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68608" y="6678000"/>
            <a:ext cx="528000" cy="18000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E2D84E2-A907-4768-A70E-F937D9B7DD1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3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218977" y="6409050"/>
            <a:ext cx="10677557" cy="365125"/>
          </a:xfrm>
          <a:prstGeom prst="rect">
            <a:avLst/>
          </a:prstGeom>
        </p:spPr>
        <p:txBody>
          <a:bodyPr anchor="t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Source: XXXX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742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87569" y="3429000"/>
            <a:ext cx="11816862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789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87569" y="2633734"/>
            <a:ext cx="11816862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7286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79752" y="6096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519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3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Line 14"/>
          <p:cNvSpPr>
            <a:spLocks noChangeShapeType="1"/>
          </p:cNvSpPr>
          <p:nvPr/>
        </p:nvSpPr>
        <p:spPr bwMode="auto">
          <a:xfrm>
            <a:off x="179752" y="4572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372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45964481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1 Objeto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B99B5D0F-FAEA-F54D-9982-AC696E0C286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87569" y="1295400"/>
            <a:ext cx="1181686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87603" y="60326"/>
            <a:ext cx="11812954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BB1AB644-104C-2545-8E96-9401E366696D}"/>
              </a:ext>
            </a:extLst>
          </p:cNvPr>
          <p:cNvCxnSpPr>
            <a:cxnSpLocks/>
          </p:cNvCxnSpPr>
          <p:nvPr userDrawn="1"/>
        </p:nvCxnSpPr>
        <p:spPr>
          <a:xfrm>
            <a:off x="835819" y="764378"/>
            <a:ext cx="1052274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8945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1 Objeto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B99B5D0F-FAEA-F54D-9982-AC696E0C286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87569" y="1295400"/>
            <a:ext cx="1181686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87603" y="60326"/>
            <a:ext cx="11812954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BB1AB644-104C-2545-8E96-9401E366696D}"/>
              </a:ext>
            </a:extLst>
          </p:cNvPr>
          <p:cNvCxnSpPr>
            <a:cxnSpLocks/>
          </p:cNvCxnSpPr>
          <p:nvPr userDrawn="1"/>
        </p:nvCxnSpPr>
        <p:spPr>
          <a:xfrm>
            <a:off x="835819" y="764378"/>
            <a:ext cx="1052274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78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6.xml"/><Relationship Id="rId7" Type="http://schemas.openxmlformats.org/officeDocument/2006/relationships/image" Target="../media/image3.emf"/><Relationship Id="rId12" Type="http://schemas.openxmlformats.org/officeDocument/2006/relationships/image" Target="../media/image2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Layout" Target="../slideLayouts/slideLayout10.xml"/><Relationship Id="rId1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chart" Target="../charts/chart1.xml"/><Relationship Id="rId2" Type="http://schemas.openxmlformats.org/officeDocument/2006/relationships/tags" Target="../tags/tag10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12" Type="http://schemas.openxmlformats.org/officeDocument/2006/relationships/hyperlink" Target="https://informationisbeautiful.net/visualizations/the-microbescope-infectious-diseases-in-context/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.xml"/><Relationship Id="rId7" Type="http://schemas.openxmlformats.org/officeDocument/2006/relationships/oleObject" Target="../embeddings/oleObject9.bin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8.xml"/><Relationship Id="rId7" Type="http://schemas.openxmlformats.org/officeDocument/2006/relationships/image" Target="../media/image1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2.xml"/><Relationship Id="rId7" Type="http://schemas.openxmlformats.org/officeDocument/2006/relationships/image" Target="../media/image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4.xml"/><Relationship Id="rId7" Type="http://schemas.openxmlformats.org/officeDocument/2006/relationships/image" Target="../media/image2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2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3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>
          <a:xfrm>
            <a:off x="987256" y="4135109"/>
            <a:ext cx="11816862" cy="990600"/>
          </a:xfrm>
        </p:spPr>
        <p:txBody>
          <a:bodyPr/>
          <a:lstStyle/>
          <a:p>
            <a:r>
              <a:rPr lang="en-US" dirty="0"/>
              <a:t>Members:</a:t>
            </a:r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Odin Del Toro</a:t>
            </a:r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Bernardo </a:t>
            </a:r>
            <a:r>
              <a:rPr lang="en-US" dirty="0" err="1"/>
              <a:t>Jardon</a:t>
            </a:r>
            <a:endParaRPr lang="en-US" dirty="0"/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Miguel </a:t>
            </a:r>
            <a:r>
              <a:rPr lang="en-US" dirty="0" err="1"/>
              <a:t>Bonachea</a:t>
            </a:r>
            <a:endParaRPr lang="en-US" dirty="0"/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Pablo Arroyo</a:t>
            </a:r>
          </a:p>
        </p:txBody>
      </p:sp>
      <p:sp>
        <p:nvSpPr>
          <p:cNvPr id="20" name="Title 19"/>
          <p:cNvSpPr>
            <a:spLocks noGrp="1"/>
          </p:cNvSpPr>
          <p:nvPr>
            <p:ph type="ctrTitle"/>
          </p:nvPr>
        </p:nvSpPr>
        <p:spPr>
          <a:xfrm>
            <a:off x="850096" y="2877574"/>
            <a:ext cx="10061744" cy="492443"/>
          </a:xfrm>
        </p:spPr>
        <p:txBody>
          <a:bodyPr/>
          <a:lstStyle/>
          <a:p>
            <a:r>
              <a:rPr lang="en-US" dirty="0"/>
              <a:t>Covid-19: A Quick Overview to The Current Pandemic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900198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69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How Is The Disease Spread Across Mexico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DMX Has The Highest Number of Infections and Deaths</a:t>
            </a:r>
          </a:p>
        </p:txBody>
      </p:sp>
      <p:sp>
        <p:nvSpPr>
          <p:cNvPr id="60" name="Rectangle 2"/>
          <p:cNvSpPr>
            <a:spLocks noChangeArrowheads="1"/>
          </p:cNvSpPr>
          <p:nvPr/>
        </p:nvSpPr>
        <p:spPr bwMode="gray">
          <a:xfrm>
            <a:off x="6254094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emand For Medical Health Care is Surpassing the System Capacity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9</a:t>
            </a:r>
          </a:p>
        </p:txBody>
      </p:sp>
      <p:pic>
        <p:nvPicPr>
          <p:cNvPr id="51217" name="Picture 17" descr="COVID19_heatmap_top_states_mortality_rates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238" y="1463216"/>
            <a:ext cx="4398613" cy="240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18" name="Picture 18" descr="COVID19_heatmap_top_states_positive_cases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238" y="4147110"/>
            <a:ext cx="4398613" cy="240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4" name="Picture 24" descr="COVID19_heatmap_top_states_mortality_rates_with_hospitals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65" y="1463216"/>
            <a:ext cx="4448282" cy="240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ChangeArrowheads="1"/>
          </p:cNvSpPr>
          <p:nvPr/>
        </p:nvSpPr>
        <p:spPr bwMode="gray">
          <a:xfrm>
            <a:off x="797653" y="1463215"/>
            <a:ext cx="536876" cy="2404450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vert="vert270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Covid-19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Infections</a:t>
            </a:r>
          </a:p>
        </p:txBody>
      </p:sp>
      <p:sp>
        <p:nvSpPr>
          <p:cNvPr id="15" name="Rectangle 2"/>
          <p:cNvSpPr>
            <a:spLocks noChangeArrowheads="1"/>
          </p:cNvSpPr>
          <p:nvPr/>
        </p:nvSpPr>
        <p:spPr bwMode="gray">
          <a:xfrm>
            <a:off x="801549" y="4147109"/>
            <a:ext cx="536876" cy="2404450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vert="vert270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Deaths Due T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 Covid-19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6254094" y="1463216"/>
            <a:ext cx="536876" cy="2404450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vert="vert270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Hospital Locations</a:t>
            </a: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4061765" y="3369380"/>
            <a:ext cx="3916682" cy="179829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B0F0"/>
              </a:solidFill>
            </a:endParaRPr>
          </a:p>
        </p:txBody>
      </p:sp>
      <p:pic>
        <p:nvPicPr>
          <p:cNvPr id="19" name="Picture 7"/>
          <p:cNvPicPr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3489" y="4093128"/>
            <a:ext cx="3009057" cy="1295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"/>
          <p:cNvSpPr>
            <a:spLocks noChangeArrowheads="1"/>
          </p:cNvSpPr>
          <p:nvPr/>
        </p:nvSpPr>
        <p:spPr bwMode="gray">
          <a:xfrm>
            <a:off x="6840782" y="4474334"/>
            <a:ext cx="2710849" cy="49303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B0F0"/>
                </a:solidFill>
              </a:rPr>
              <a:t>Saturation in hospitals serving patients with coronavirus in CDMX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gray">
          <a:xfrm>
            <a:off x="8251199" y="4931214"/>
            <a:ext cx="1307347" cy="353586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chemeClr val="accent1"/>
                </a:solidFill>
              </a:rPr>
              <a:t>El </a:t>
            </a:r>
            <a:r>
              <a:rPr lang="en-US" sz="900" dirty="0" err="1">
                <a:solidFill>
                  <a:schemeClr val="accent1"/>
                </a:solidFill>
              </a:rPr>
              <a:t>Economista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pic>
        <p:nvPicPr>
          <p:cNvPr id="25" name="Picture 7"/>
          <p:cNvPicPr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520" y="5349334"/>
            <a:ext cx="3009057" cy="1295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ectangle 2"/>
          <p:cNvSpPr>
            <a:spLocks noChangeArrowheads="1"/>
          </p:cNvSpPr>
          <p:nvPr/>
        </p:nvSpPr>
        <p:spPr bwMode="gray">
          <a:xfrm>
            <a:off x="8882148" y="5697939"/>
            <a:ext cx="2710849" cy="49303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B0F0"/>
                </a:solidFill>
              </a:rPr>
              <a:t>42 Hospital in Valle has no availability for patients with Covid-19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7" name="Rectangle 2"/>
          <p:cNvSpPr>
            <a:spLocks noChangeArrowheads="1"/>
          </p:cNvSpPr>
          <p:nvPr/>
        </p:nvSpPr>
        <p:spPr bwMode="gray">
          <a:xfrm>
            <a:off x="10164154" y="6185996"/>
            <a:ext cx="1307347" cy="353586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err="1">
                <a:solidFill>
                  <a:schemeClr val="accent1"/>
                </a:solidFill>
              </a:rPr>
              <a:t>Expansión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E3B1F0D0-9946-483E-84C8-4C5F59B0DD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951" y="6579565"/>
            <a:ext cx="4899321" cy="278435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Maps created with Google API</a:t>
            </a:r>
          </a:p>
        </p:txBody>
      </p:sp>
    </p:spTree>
    <p:extLst>
      <p:ext uri="{BB962C8B-B14F-4D97-AF65-F5344CB8AC3E}">
        <p14:creationId xmlns:p14="http://schemas.microsoft.com/office/powerpoint/2010/main" val="39060756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140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/>
              <a:t>Conclusions: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10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1082040" y="1150620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1</a:t>
            </a:r>
          </a:p>
        </p:txBody>
      </p:sp>
      <p:sp>
        <p:nvSpPr>
          <p:cNvPr id="19" name="Oval 18"/>
          <p:cNvSpPr/>
          <p:nvPr/>
        </p:nvSpPr>
        <p:spPr bwMode="auto">
          <a:xfrm>
            <a:off x="1082040" y="2510792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2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1082040" y="5253698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4</a:t>
            </a:r>
          </a:p>
        </p:txBody>
      </p:sp>
      <p:sp>
        <p:nvSpPr>
          <p:cNvPr id="21" name="Oval 20"/>
          <p:cNvSpPr/>
          <p:nvPr/>
        </p:nvSpPr>
        <p:spPr bwMode="auto">
          <a:xfrm>
            <a:off x="1082040" y="3844293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3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gray">
          <a:xfrm>
            <a:off x="2522220" y="1150620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Covid-19 is a virus that has a high rate of transmission</a:t>
            </a:r>
          </a:p>
        </p:txBody>
      </p:sp>
      <p:sp>
        <p:nvSpPr>
          <p:cNvPr id="23" name="Rectangle 2"/>
          <p:cNvSpPr>
            <a:spLocks noChangeArrowheads="1"/>
          </p:cNvSpPr>
          <p:nvPr/>
        </p:nvSpPr>
        <p:spPr bwMode="gray">
          <a:xfrm>
            <a:off x="2522220" y="2511092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Younger population tend to have lower rate of infections</a:t>
            </a: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gray">
          <a:xfrm>
            <a:off x="2522220" y="3844593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Age and Respiratory pre-conditions increases the probability of death</a:t>
            </a:r>
          </a:p>
        </p:txBody>
      </p:sp>
      <p:sp>
        <p:nvSpPr>
          <p:cNvPr id="25" name="Rectangle 2"/>
          <p:cNvSpPr>
            <a:spLocks noChangeArrowheads="1"/>
          </p:cNvSpPr>
          <p:nvPr/>
        </p:nvSpPr>
        <p:spPr bwMode="gray">
          <a:xfrm>
            <a:off x="2522220" y="5253998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The health system could reach a point of oversaturation, which could cause an increase in the mortality rate</a:t>
            </a:r>
          </a:p>
        </p:txBody>
      </p:sp>
    </p:spTree>
    <p:extLst>
      <p:ext uri="{BB962C8B-B14F-4D97-AF65-F5344CB8AC3E}">
        <p14:creationId xmlns:p14="http://schemas.microsoft.com/office/powerpoint/2010/main" val="2776405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384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19"/>
          <p:cNvSpPr txBox="1">
            <a:spLocks/>
          </p:cNvSpPr>
          <p:nvPr/>
        </p:nvSpPr>
        <p:spPr bwMode="gray">
          <a:xfrm>
            <a:off x="187569" y="2633734"/>
            <a:ext cx="11816862" cy="1107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algn="ctr"/>
            <a:r>
              <a:rPr lang="en-US" sz="4800" kern="0" dirty="0"/>
              <a:t>Thanks! </a:t>
            </a:r>
          </a:p>
          <a:p>
            <a:pPr algn="ctr"/>
            <a:r>
              <a:rPr lang="en-US" kern="0" dirty="0"/>
              <a:t>&amp; Stay At Ho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BF1088-8D02-45B9-847A-B68437F48D2E}"/>
              </a:ext>
            </a:extLst>
          </p:cNvPr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090517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15">
            <a:extLst>
              <a:ext uri="{FF2B5EF4-FFF2-40B4-BE49-F238E27FC236}">
                <a16:creationId xmlns:a16="http://schemas.microsoft.com/office/drawing/2014/main" id="{85EC58A8-DB96-4871-8FCA-221B20D49CA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26980" y="1439567"/>
            <a:ext cx="5021148" cy="3279600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141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9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10237573" y="6283325"/>
            <a:ext cx="1736124" cy="37623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25486"/>
            <a:ext cx="10739872" cy="553998"/>
          </a:xfrm>
          <a:noFill/>
        </p:spPr>
        <p:txBody>
          <a:bodyPr/>
          <a:lstStyle/>
          <a:p>
            <a:r>
              <a:rPr lang="en-US" sz="3600" dirty="0" err="1"/>
              <a:t>Covid</a:t>
            </a:r>
            <a:r>
              <a:rPr lang="en-US" sz="3600" dirty="0"/>
              <a:t> – 19: Disease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801549" y="1371715"/>
            <a:ext cx="1248925" cy="1000944"/>
          </a:xfrm>
          <a:prstGeom prst="roundRect">
            <a:avLst/>
          </a:prstGeom>
          <a:solidFill>
            <a:srgbClr val="00B0F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+mj-ea"/>
              </a:rPr>
              <a:t>Name</a:t>
            </a:r>
          </a:p>
        </p:txBody>
      </p:sp>
      <p:sp>
        <p:nvSpPr>
          <p:cNvPr id="68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ackground Information</a:t>
            </a:r>
          </a:p>
        </p:txBody>
      </p:sp>
      <p:sp>
        <p:nvSpPr>
          <p:cNvPr id="82" name="Isosceles Triangle 81"/>
          <p:cNvSpPr/>
          <p:nvPr/>
        </p:nvSpPr>
        <p:spPr bwMode="auto">
          <a:xfrm rot="5400000">
            <a:off x="4202713" y="3361143"/>
            <a:ext cx="3779520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13885" y="1388004"/>
            <a:ext cx="34243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Virus:		SARS-COV-19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1200" baseline="0" dirty="0">
              <a:ea typeface="+mj-ea"/>
            </a:endParaRP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Disease:		</a:t>
            </a:r>
            <a:r>
              <a:rPr lang="en-US" sz="1200" dirty="0">
                <a:solidFill>
                  <a:srgbClr val="FF0000"/>
                </a:solidFill>
                <a:ea typeface="+mj-ea"/>
              </a:rPr>
              <a:t>CO        VID         19</a:t>
            </a:r>
            <a:endParaRPr lang="en-US" sz="1200" baseline="0" dirty="0">
              <a:solidFill>
                <a:srgbClr val="FF0000"/>
              </a:solidFill>
              <a:ea typeface="+mj-ea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811886" y="2048793"/>
            <a:ext cx="6335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baseline="0" dirty="0">
                <a:solidFill>
                  <a:srgbClr val="00B0F0"/>
                </a:solidFill>
                <a:ea typeface="+mj-ea"/>
              </a:rPr>
              <a:t>Corona</a:t>
            </a:r>
          </a:p>
          <a:p>
            <a:pPr algn="ctr"/>
            <a:r>
              <a:rPr lang="en-US" sz="1000" b="1" dirty="0">
                <a:solidFill>
                  <a:srgbClr val="00B0F0"/>
                </a:solidFill>
                <a:ea typeface="+mj-ea"/>
              </a:rPr>
              <a:t>Virus</a:t>
            </a:r>
            <a:endParaRPr lang="en-US" sz="1000" b="1" baseline="0" dirty="0">
              <a:solidFill>
                <a:srgbClr val="00B0F0"/>
              </a:solidFill>
              <a:ea typeface="+mj-ea"/>
            </a:endParaRPr>
          </a:p>
        </p:txBody>
      </p:sp>
      <p:sp>
        <p:nvSpPr>
          <p:cNvPr id="7" name="Right Brace 6"/>
          <p:cNvSpPr/>
          <p:nvPr/>
        </p:nvSpPr>
        <p:spPr bwMode="auto">
          <a:xfrm rot="16200000">
            <a:off x="4030984" y="1801133"/>
            <a:ext cx="195312" cy="519226"/>
          </a:xfrm>
          <a:prstGeom prst="rightBrac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441432" y="2048793"/>
            <a:ext cx="6655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000" b="1" baseline="0">
                <a:ea typeface="+mj-ea"/>
              </a:defRPr>
            </a:lvl1pPr>
          </a:lstStyle>
          <a:p>
            <a:r>
              <a:rPr lang="en-US" dirty="0">
                <a:solidFill>
                  <a:srgbClr val="00B0F0"/>
                </a:solidFill>
              </a:rPr>
              <a:t>Diseas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127536" y="2048793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000" b="1" baseline="0">
                <a:ea typeface="+mj-ea"/>
              </a:defRPr>
            </a:lvl1pPr>
          </a:lstStyle>
          <a:p>
            <a:r>
              <a:rPr lang="en-US" dirty="0">
                <a:solidFill>
                  <a:srgbClr val="00B0F0"/>
                </a:solidFill>
              </a:rPr>
              <a:t>2019</a:t>
            </a:r>
          </a:p>
        </p:txBody>
      </p:sp>
      <p:sp>
        <p:nvSpPr>
          <p:cNvPr id="47" name="Right Brace 46"/>
          <p:cNvSpPr/>
          <p:nvPr/>
        </p:nvSpPr>
        <p:spPr bwMode="auto">
          <a:xfrm rot="16200000">
            <a:off x="4685528" y="1752250"/>
            <a:ext cx="195312" cy="616990"/>
          </a:xfrm>
          <a:prstGeom prst="rightBrac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8" name="Right Brace 47"/>
          <p:cNvSpPr/>
          <p:nvPr/>
        </p:nvSpPr>
        <p:spPr bwMode="auto">
          <a:xfrm rot="16200000">
            <a:off x="5251221" y="1851149"/>
            <a:ext cx="195312" cy="419192"/>
          </a:xfrm>
          <a:prstGeom prst="rightBrac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9" name="Rounded Rectangle 48"/>
          <p:cNvSpPr/>
          <p:nvPr/>
        </p:nvSpPr>
        <p:spPr bwMode="auto">
          <a:xfrm>
            <a:off x="801548" y="2437758"/>
            <a:ext cx="1248925" cy="2109214"/>
          </a:xfrm>
          <a:prstGeom prst="roundRect">
            <a:avLst/>
          </a:prstGeom>
          <a:solidFill>
            <a:srgbClr val="00B0F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+mj-ea"/>
              </a:rPr>
              <a:t>Transmission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169995" y="2465984"/>
            <a:ext cx="3424335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Spreads through droplets when we sneeze, cough or speak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Can enter us directly through our eyes nose or mouth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The virus can also life on a lot of surfaces for hours so anyone can pick it up on their hands and infect themselves when touching their face (~500 times a day)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You can be infected and not have any symptoms</a:t>
            </a:r>
          </a:p>
        </p:txBody>
      </p:sp>
      <p:sp>
        <p:nvSpPr>
          <p:cNvPr id="51" name="Rectangle 2"/>
          <p:cNvSpPr>
            <a:spLocks noChangeArrowheads="1"/>
          </p:cNvSpPr>
          <p:nvPr/>
        </p:nvSpPr>
        <p:spPr bwMode="gray">
          <a:xfrm>
            <a:off x="801549" y="4676512"/>
            <a:ext cx="4617152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</a:rPr>
              <a:t>Disease Timeline Summary:</a:t>
            </a:r>
          </a:p>
        </p:txBody>
      </p:sp>
      <p:cxnSp>
        <p:nvCxnSpPr>
          <p:cNvPr id="9" name="Straight Connector 8"/>
          <p:cNvCxnSpPr/>
          <p:nvPr/>
        </p:nvCxnSpPr>
        <p:spPr bwMode="auto">
          <a:xfrm flipV="1">
            <a:off x="896471" y="5813247"/>
            <a:ext cx="4690118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Rectangle 2"/>
          <p:cNvSpPr>
            <a:spLocks noChangeArrowheads="1"/>
          </p:cNvSpPr>
          <p:nvPr/>
        </p:nvSpPr>
        <p:spPr bwMode="gray">
          <a:xfrm>
            <a:off x="6254094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ovid-19 </a:t>
            </a:r>
            <a:r>
              <a:rPr lang="en-US" sz="1400" b="1" dirty="0" err="1">
                <a:solidFill>
                  <a:schemeClr val="bg1"/>
                </a:solidFill>
              </a:rPr>
              <a:t>Curent</a:t>
            </a:r>
            <a:r>
              <a:rPr lang="en-US" sz="1400" b="1" dirty="0">
                <a:solidFill>
                  <a:schemeClr val="bg1"/>
                </a:solidFill>
              </a:rPr>
              <a:t> Rate of Transmission of 4%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822035" y="5071127"/>
            <a:ext cx="1082735" cy="369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Jan 1: China reporter a cluster of cases of pneumonia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1187795" y="6197989"/>
            <a:ext cx="1082735" cy="369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Jan 5: WHO published the first disease outbreak news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2268311" y="5071127"/>
            <a:ext cx="1082735" cy="24622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Jan 27: First Covid-19 case in Mexico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2795603" y="6197989"/>
            <a:ext cx="1082735" cy="24622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Mar 18: First death due to Covid-19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3977530" y="5071127"/>
            <a:ext cx="1082735" cy="369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Mar 24: Stage 2 Starts: Local disease transmission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4430791" y="6197989"/>
            <a:ext cx="1082735" cy="4924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/>
              <a:t>April 21: Stage 3 Starts: Thousands of cases in different regions across the country</a:t>
            </a:r>
            <a:endParaRPr lang="en-US" sz="800" dirty="0">
              <a:ea typeface="+mj-ea"/>
            </a:endParaRPr>
          </a:p>
        </p:txBody>
      </p:sp>
      <p:cxnSp>
        <p:nvCxnSpPr>
          <p:cNvPr id="12" name="Straight Connector 11"/>
          <p:cNvCxnSpPr/>
          <p:nvPr/>
        </p:nvCxnSpPr>
        <p:spPr bwMode="auto">
          <a:xfrm flipH="1">
            <a:off x="1363402" y="5440459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/>
        </p:nvCxnSpPr>
        <p:spPr bwMode="auto">
          <a:xfrm flipH="1">
            <a:off x="1720862" y="5819598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Straight Connector 61"/>
          <p:cNvCxnSpPr/>
          <p:nvPr/>
        </p:nvCxnSpPr>
        <p:spPr bwMode="auto">
          <a:xfrm flipH="1">
            <a:off x="2795602" y="5326158"/>
            <a:ext cx="1" cy="46800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/>
          <p:nvPr/>
        </p:nvCxnSpPr>
        <p:spPr bwMode="auto">
          <a:xfrm flipH="1">
            <a:off x="4518896" y="5440459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Straight Connector 63"/>
          <p:cNvCxnSpPr/>
          <p:nvPr/>
        </p:nvCxnSpPr>
        <p:spPr bwMode="auto">
          <a:xfrm flipH="1">
            <a:off x="4952440" y="5819598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Straight Connector 64"/>
          <p:cNvCxnSpPr/>
          <p:nvPr/>
        </p:nvCxnSpPr>
        <p:spPr bwMode="auto">
          <a:xfrm flipH="1">
            <a:off x="3317251" y="5819598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tangle 7"/>
          <p:cNvSpPr/>
          <p:nvPr/>
        </p:nvSpPr>
        <p:spPr bwMode="auto">
          <a:xfrm>
            <a:off x="6964288" y="3924292"/>
            <a:ext cx="1225448" cy="153480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Data as</a:t>
            </a:r>
            <a:r>
              <a:rPr kumimoji="0" lang="es-MX" sz="8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</a:t>
            </a:r>
            <a:r>
              <a:rPr kumimoji="0" lang="es-MX" sz="800" b="1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of</a:t>
            </a:r>
            <a:r>
              <a:rPr kumimoji="0" lang="es-MX" sz="8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M</a:t>
            </a:r>
            <a:r>
              <a:rPr lang="es-MX" sz="800" b="1" dirty="0">
                <a:latin typeface="Arial" pitchFamily="34" charset="0"/>
                <a:ea typeface="+mj-ea"/>
              </a:rPr>
              <a:t>ay 5</a:t>
            </a:r>
            <a:endParaRPr kumimoji="0" lang="en-US" sz="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graphicFrame>
        <p:nvGraphicFramePr>
          <p:cNvPr id="76" name="Chart 7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66857680"/>
              </p:ext>
            </p:extLst>
          </p:nvPr>
        </p:nvGraphicFramePr>
        <p:xfrm>
          <a:off x="6927850" y="5173663"/>
          <a:ext cx="2587625" cy="1538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12" name="Rectangle 111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9458326" y="5367338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6AC3EE2-96E6-41AD-9AAD-388AE1919A57}" type="datetime'''''''7''''''''''3''''''''''5''''''''''''''''''''''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735</a:t>
            </a:fld>
            <a:endParaRPr lang="en-US" sz="800" b="1" dirty="0">
              <a:sym typeface="+mn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665913" y="5367338"/>
            <a:ext cx="2778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32DC2AD-F029-40E9-B68C-0CEF5D2A5F3A}" type="datetime'B''''''''''''''''r''''''azi''''''''l''''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Brazil</a:t>
            </a:fld>
            <a:endParaRPr lang="en-US" sz="800" b="1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716713" y="5710238"/>
            <a:ext cx="2270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7D8FB00-938F-4FEA-8690-D100A297368F}" type="datetime'P''''''''''''e''''''''''''r''''''''u''''''''''''''''''''''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Peru</a:t>
            </a:fld>
            <a:endParaRPr lang="en-US" sz="800" b="1" dirty="0">
              <a:sym typeface="+mn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597650" y="6054725"/>
            <a:ext cx="3460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E12276A-9ABC-4D26-9F1C-D27BDCEECF96}" type="datetime'M''e''x''''''''''''''''i''''''''''''''''''c''''''''''o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Mexico</a:t>
            </a:fld>
            <a:endParaRPr lang="en-US" sz="800" b="1" dirty="0">
              <a:sym typeface="+mn-lt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469063" y="6397625"/>
            <a:ext cx="4746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40BFE06-0B15-48B6-920A-D967AE417628}" type="datetime'''''''''Ar''''''''g''e''''n''''ti''''''''n''a''''''''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Argentina</a:t>
            </a:fld>
            <a:endParaRPr lang="en-US" sz="800" b="1" dirty="0">
              <a:sym typeface="+mn-lt"/>
            </a:endParaRPr>
          </a:p>
        </p:txBody>
      </p:sp>
      <p:sp>
        <p:nvSpPr>
          <p:cNvPr id="113" name="Rectangle 11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8970963" y="5710238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F2FF87D-927D-489D-93E0-FA4A9B228D8B}" type="datetime'58''''''''''''''7''''''''''''''''''''''''''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587</a:t>
            </a:fld>
            <a:endParaRPr lang="en-US" sz="800" b="1" dirty="0">
              <a:sym typeface="+mn-lt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8801100" y="6054725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DBF4CCC-0C21-4BA2-A400-58CF87D924A8}" type="datetime'''''''5''''''''''''''''''''3''''''''''6''''''''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536</a:t>
            </a:fld>
            <a:endParaRPr lang="en-US" sz="800" b="1" dirty="0">
              <a:sym typeface="+mn-lt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7343775" y="6397625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E6CBF62-AAD5-49DB-84E6-5455229C9FE3}" type="datetime'''''''''''''''''''''''''''''''''''9''''''4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94</a:t>
            </a:fld>
            <a:endParaRPr lang="en-US" sz="800" b="1" dirty="0">
              <a:sym typeface="+mn-lt"/>
            </a:endParaRPr>
          </a:p>
        </p:txBody>
      </p:sp>
      <p:cxnSp>
        <p:nvCxnSpPr>
          <p:cNvPr id="120" name="Straight Connector 119"/>
          <p:cNvCxnSpPr/>
          <p:nvPr/>
        </p:nvCxnSpPr>
        <p:spPr bwMode="auto">
          <a:xfrm flipV="1">
            <a:off x="7035751" y="5086350"/>
            <a:ext cx="2340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1" name="Rectangle 2"/>
          <p:cNvSpPr>
            <a:spLocks noChangeArrowheads="1"/>
          </p:cNvSpPr>
          <p:nvPr/>
        </p:nvSpPr>
        <p:spPr bwMode="gray">
          <a:xfrm>
            <a:off x="7437401" y="4889500"/>
            <a:ext cx="1536701" cy="392113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B0F0"/>
                </a:solidFill>
              </a:rPr>
              <a:t>Total Test Preform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800" b="1" dirty="0">
                <a:solidFill>
                  <a:srgbClr val="00B0F0"/>
                </a:solidFill>
              </a:rPr>
              <a:t>(#,K)</a:t>
            </a:r>
            <a:endParaRPr lang="en-US" sz="800" b="1" dirty="0">
              <a:solidFill>
                <a:srgbClr val="00B0F0"/>
              </a:solidFill>
            </a:endParaRPr>
          </a:p>
        </p:txBody>
      </p:sp>
      <p:cxnSp>
        <p:nvCxnSpPr>
          <p:cNvPr id="122" name="Straight Connector 121"/>
          <p:cNvCxnSpPr/>
          <p:nvPr/>
        </p:nvCxnSpPr>
        <p:spPr bwMode="auto">
          <a:xfrm flipV="1">
            <a:off x="9718764" y="5086350"/>
            <a:ext cx="648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" name="Rectangle 2"/>
          <p:cNvSpPr>
            <a:spLocks noChangeArrowheads="1"/>
          </p:cNvSpPr>
          <p:nvPr/>
        </p:nvSpPr>
        <p:spPr bwMode="gray">
          <a:xfrm>
            <a:off x="9591673" y="4873625"/>
            <a:ext cx="902183" cy="392113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B0F0"/>
                </a:solidFill>
              </a:rPr>
              <a:t>Populatio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800" b="1" dirty="0">
                <a:solidFill>
                  <a:srgbClr val="00B0F0"/>
                </a:solidFill>
              </a:rPr>
              <a:t>(MM)</a:t>
            </a:r>
            <a:endParaRPr lang="en-US" sz="800" b="1" dirty="0">
              <a:solidFill>
                <a:srgbClr val="00B0F0"/>
              </a:solidFill>
            </a:endParaRPr>
          </a:p>
        </p:txBody>
      </p:sp>
      <p:cxnSp>
        <p:nvCxnSpPr>
          <p:cNvPr id="124" name="Straight Connector 123"/>
          <p:cNvCxnSpPr/>
          <p:nvPr/>
        </p:nvCxnSpPr>
        <p:spPr bwMode="auto">
          <a:xfrm flipV="1">
            <a:off x="10620947" y="5092700"/>
            <a:ext cx="648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Rectangle 2"/>
          <p:cNvSpPr>
            <a:spLocks noChangeArrowheads="1"/>
          </p:cNvSpPr>
          <p:nvPr/>
        </p:nvSpPr>
        <p:spPr bwMode="gray">
          <a:xfrm>
            <a:off x="10493856" y="4813300"/>
            <a:ext cx="902183" cy="392113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B0F0"/>
                </a:solidFill>
              </a:rPr>
              <a:t>Per 1MM</a:t>
            </a:r>
          </a:p>
        </p:txBody>
      </p:sp>
      <p:sp>
        <p:nvSpPr>
          <p:cNvPr id="17" name="Oval 16"/>
          <p:cNvSpPr/>
          <p:nvPr/>
        </p:nvSpPr>
        <p:spPr bwMode="auto">
          <a:xfrm>
            <a:off x="9762312" y="5297488"/>
            <a:ext cx="560905" cy="233363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210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6" name="Oval 125"/>
          <p:cNvSpPr/>
          <p:nvPr/>
        </p:nvSpPr>
        <p:spPr bwMode="auto">
          <a:xfrm>
            <a:off x="9762312" y="564832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32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7" name="Oval 126"/>
          <p:cNvSpPr/>
          <p:nvPr/>
        </p:nvSpPr>
        <p:spPr bwMode="auto">
          <a:xfrm>
            <a:off x="9762312" y="6000750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127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8" name="Oval 127"/>
          <p:cNvSpPr/>
          <p:nvPr/>
        </p:nvSpPr>
        <p:spPr bwMode="auto">
          <a:xfrm>
            <a:off x="9762312" y="635317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45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9" name="Oval 128"/>
          <p:cNvSpPr/>
          <p:nvPr/>
        </p:nvSpPr>
        <p:spPr bwMode="auto">
          <a:xfrm>
            <a:off x="10664495" y="5297488"/>
            <a:ext cx="560905" cy="233363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3.5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0" name="Oval 129"/>
          <p:cNvSpPr/>
          <p:nvPr/>
        </p:nvSpPr>
        <p:spPr bwMode="auto">
          <a:xfrm>
            <a:off x="10664495" y="564832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19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1" name="Oval 130"/>
          <p:cNvSpPr/>
          <p:nvPr/>
        </p:nvSpPr>
        <p:spPr bwMode="auto">
          <a:xfrm>
            <a:off x="10664495" y="6000750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ea typeface="+mj-ea"/>
              </a:rPr>
              <a:t>4.2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2" name="Oval 131"/>
          <p:cNvSpPr/>
          <p:nvPr/>
        </p:nvSpPr>
        <p:spPr bwMode="auto">
          <a:xfrm>
            <a:off x="10664495" y="635317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2.1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6432401" y="5929313"/>
            <a:ext cx="4950995" cy="344488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1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098600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561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How Contagious It Can Be?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ovid-19 Cases Distribution</a:t>
            </a:r>
          </a:p>
        </p:txBody>
      </p:sp>
      <p:sp>
        <p:nvSpPr>
          <p:cNvPr id="60" name="Rectangle 2"/>
          <p:cNvSpPr>
            <a:spLocks noChangeArrowheads="1"/>
          </p:cNvSpPr>
          <p:nvPr/>
        </p:nvSpPr>
        <p:spPr bwMode="gray">
          <a:xfrm>
            <a:off x="6299689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Is it More Contagious than Other Pandemics?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2</a:t>
            </a:r>
          </a:p>
        </p:txBody>
      </p:sp>
      <p:pic>
        <p:nvPicPr>
          <p:cNvPr id="50185" name="Picture 9" descr="COVID-19_cases_distribution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40" r="23675" b="14664"/>
          <a:stretch/>
        </p:blipFill>
        <p:spPr bwMode="auto">
          <a:xfrm>
            <a:off x="1508760" y="1411311"/>
            <a:ext cx="4000500" cy="4738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 bwMode="auto">
          <a:xfrm>
            <a:off x="1310640" y="1584960"/>
            <a:ext cx="4259580" cy="54864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6068" y="1411311"/>
            <a:ext cx="1695450" cy="904875"/>
          </a:xfrm>
          <a:prstGeom prst="rect">
            <a:avLst/>
          </a:prstGeom>
        </p:spPr>
      </p:pic>
      <p:sp>
        <p:nvSpPr>
          <p:cNvPr id="13" name="Rounded Rectangular Callout 12"/>
          <p:cNvSpPr/>
          <p:nvPr/>
        </p:nvSpPr>
        <p:spPr bwMode="auto">
          <a:xfrm>
            <a:off x="4890867" y="1850885"/>
            <a:ext cx="844062" cy="447609"/>
          </a:xfrm>
          <a:prstGeom prst="wedgeRoundRectCallout">
            <a:avLst>
              <a:gd name="adj1" fmla="val -73983"/>
              <a:gd name="adj2" fmla="val 170417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latin typeface="Arial" pitchFamily="34" charset="0"/>
                <a:ea typeface="+mj-ea"/>
              </a:rPr>
              <a:t>25% of tested cases are positive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03555" y="2238685"/>
            <a:ext cx="5012757" cy="4220968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 bwMode="auto">
          <a:xfrm>
            <a:off x="7369276" y="5271229"/>
            <a:ext cx="662940" cy="525780"/>
          </a:xfrm>
          <a:prstGeom prst="ellipse">
            <a:avLst/>
          </a:prstGeom>
          <a:solidFill>
            <a:srgbClr val="FFB3B3">
              <a:alpha val="29000"/>
            </a:srgbClr>
          </a:solidFill>
          <a:ln w="63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6312367" y="1143026"/>
            <a:ext cx="5103946" cy="121370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B0F0"/>
                </a:solidFill>
              </a:rPr>
              <a:t>As of today it is not clear yet, it is deadlier than </a:t>
            </a:r>
            <a:r>
              <a:rPr lang="en-US" sz="1600" b="1" dirty="0">
                <a:solidFill>
                  <a:schemeClr val="accent1"/>
                </a:solidFill>
              </a:rPr>
              <a:t>Measles</a:t>
            </a:r>
            <a:r>
              <a:rPr lang="en-US" sz="1600" dirty="0">
                <a:solidFill>
                  <a:srgbClr val="00B0F0"/>
                </a:solidFill>
              </a:rPr>
              <a:t> but less contagious. Far less deadly than </a:t>
            </a:r>
            <a:r>
              <a:rPr lang="en-US" sz="1600" b="1" dirty="0">
                <a:solidFill>
                  <a:schemeClr val="accent1"/>
                </a:solidFill>
              </a:rPr>
              <a:t>Ebola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dirty="0">
                <a:solidFill>
                  <a:srgbClr val="00B0F0"/>
                </a:solidFill>
              </a:rPr>
              <a:t>but no were near </a:t>
            </a:r>
            <a:r>
              <a:rPr lang="en-US" sz="1600" b="1" dirty="0">
                <a:solidFill>
                  <a:schemeClr val="accent1"/>
                </a:solidFill>
              </a:rPr>
              <a:t>Smallpox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6532028" y="6473128"/>
            <a:ext cx="4899321" cy="278435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>
                <a:solidFill>
                  <a:schemeClr val="tx1">
                    <a:lumMod val="50000"/>
                  </a:schemeClr>
                </a:solidFill>
              </a:rPr>
              <a:t>Source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: information is beautiful. (2020). </a:t>
            </a:r>
            <a:r>
              <a:rPr lang="en-US" sz="800" i="1" dirty="0">
                <a:solidFill>
                  <a:schemeClr val="tx1">
                    <a:lumMod val="50000"/>
                  </a:schemeClr>
                </a:solidFill>
              </a:rPr>
              <a:t>The </a:t>
            </a:r>
            <a:r>
              <a:rPr lang="en-US" sz="800" i="1" dirty="0" err="1">
                <a:solidFill>
                  <a:schemeClr val="tx1">
                    <a:lumMod val="50000"/>
                  </a:schemeClr>
                </a:solidFill>
              </a:rPr>
              <a:t>MicrobeScope</a:t>
            </a:r>
            <a:r>
              <a:rPr lang="en-US" sz="800" i="1" dirty="0">
                <a:solidFill>
                  <a:schemeClr val="tx1">
                    <a:lumMod val="50000"/>
                  </a:schemeClr>
                </a:solidFill>
              </a:rPr>
              <a:t> – Infectious Diseases in Context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. [Scatter Plot Visualization]. informationisbeautiful.net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800" dirty="0">
                <a:hlinkClick r:id="rId12"/>
              </a:rPr>
              <a:t>https://informationisbeautiful.net/visualizations/the-microbescope-infectious-diseases-in-context/</a:t>
            </a:r>
            <a:endParaRPr lang="en-US" sz="8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241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9774295A-5516-4B53-AF7C-503E6D1B56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440" y="1968950"/>
            <a:ext cx="5076000" cy="4305994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3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1172148" cy="861774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No Clear Answer as to Who is More Prune to Get Infected  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Women or Men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03179" y="263373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</a:rPr>
              <a:t>Biological Factors</a:t>
            </a:r>
          </a:p>
        </p:txBody>
      </p:sp>
      <p:cxnSp>
        <p:nvCxnSpPr>
          <p:cNvPr id="6" name="Straight Arrow Connector 5"/>
          <p:cNvCxnSpPr>
            <a:cxnSpLocks/>
          </p:cNvCxnSpPr>
          <p:nvPr/>
        </p:nvCxnSpPr>
        <p:spPr bwMode="auto">
          <a:xfrm flipV="1">
            <a:off x="4204422" y="2145317"/>
            <a:ext cx="0" cy="11880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auto">
          <a:xfrm>
            <a:off x="3448423" y="2142267"/>
            <a:ext cx="15120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 bwMode="auto">
          <a:xfrm>
            <a:off x="1069789" y="1676103"/>
            <a:ext cx="4805082" cy="292847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6" name="Rectangle 15"/>
          <p:cNvSpPr/>
          <p:nvPr/>
        </p:nvSpPr>
        <p:spPr bwMode="auto">
          <a:xfrm rot="16200000">
            <a:off x="3510634" y="3887834"/>
            <a:ext cx="4805082" cy="292847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1" name="Rectangle 2"/>
          <p:cNvSpPr>
            <a:spLocks noChangeArrowheads="1"/>
          </p:cNvSpPr>
          <p:nvPr/>
        </p:nvSpPr>
        <p:spPr bwMode="gray">
          <a:xfrm>
            <a:off x="6401021" y="1561468"/>
            <a:ext cx="5225713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accent1"/>
                </a:solidFill>
              </a:rPr>
              <a:t>There is </a:t>
            </a:r>
            <a:r>
              <a:rPr lang="en-US" sz="1600" b="1" dirty="0">
                <a:solidFill>
                  <a:schemeClr val="accent1"/>
                </a:solidFill>
              </a:rPr>
              <a:t>no clear understanding </a:t>
            </a:r>
            <a:r>
              <a:rPr lang="en-US" sz="1600" dirty="0">
                <a:solidFill>
                  <a:schemeClr val="accent1"/>
                </a:solidFill>
              </a:rPr>
              <a:t>why the risk is higher for men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accent1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accent1"/>
                </a:solidFill>
              </a:rPr>
              <a:t>Some hypothesis are: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23" name="Oval 22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j-ea"/>
              </a:rPr>
              <a:t>3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03179" y="4048679"/>
            <a:ext cx="32239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</a:rPr>
              <a:t>Men are more likely to smok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703180" y="5463620"/>
            <a:ext cx="34724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</a:rPr>
              <a:t>A greater percentage of woman wash their hands</a:t>
            </a:r>
          </a:p>
        </p:txBody>
      </p:sp>
      <p:sp>
        <p:nvSpPr>
          <p:cNvPr id="26" name="Isosceles Triangle 25"/>
          <p:cNvSpPr/>
          <p:nvPr/>
        </p:nvSpPr>
        <p:spPr bwMode="auto">
          <a:xfrm rot="5400000">
            <a:off x="4507513" y="4044403"/>
            <a:ext cx="3779520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Rounded Rectangular Callout 13"/>
          <p:cNvSpPr/>
          <p:nvPr/>
        </p:nvSpPr>
        <p:spPr bwMode="auto">
          <a:xfrm>
            <a:off x="4922689" y="2480633"/>
            <a:ext cx="844062" cy="447609"/>
          </a:xfrm>
          <a:prstGeom prst="wedgeRoundRectCallout">
            <a:avLst>
              <a:gd name="adj1" fmla="val -134469"/>
              <a:gd name="adj2" fmla="val 76786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+40% compared</a:t>
            </a:r>
            <a:r>
              <a:rPr kumimoji="0" lang="en-US" sz="8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to women population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9303" y="2594534"/>
            <a:ext cx="411690" cy="4104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97875" y="3979607"/>
            <a:ext cx="454546" cy="47947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59210" y="5359292"/>
            <a:ext cx="531877" cy="411994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783571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F3FFA9A4-73CF-4206-A900-304B5A75C7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1549" y="1310635"/>
            <a:ext cx="10554915" cy="514901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33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1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Is Age a Defining Factor  to Getting Infected?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31438"/>
            <a:ext cx="10554915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Positive Covid-19 Age Distribution is Very Similar to Overall Population Distribu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4</a:t>
            </a:r>
          </a:p>
        </p:txBody>
      </p:sp>
      <p:sp>
        <p:nvSpPr>
          <p:cNvPr id="10" name="Rounded Rectangular Callout 9"/>
          <p:cNvSpPr/>
          <p:nvPr/>
        </p:nvSpPr>
        <p:spPr bwMode="auto">
          <a:xfrm>
            <a:off x="2206172" y="3717968"/>
            <a:ext cx="1297062" cy="1204466"/>
          </a:xfrm>
          <a:prstGeom prst="wedgeRoundRectCallout">
            <a:avLst>
              <a:gd name="adj1" fmla="val 62029"/>
              <a:gd name="adj2" fmla="val 117503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Coronavirus</a:t>
            </a:r>
            <a:r>
              <a:rPr kumimoji="0" lang="en-US" sz="8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Mystery: Children seem less susceptible to the disease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568077" y="5752251"/>
            <a:ext cx="741751" cy="946372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8825160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623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2226" name="Picture 2" descr="COVID19_bar_top_states_positive_cases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2" b="639"/>
          <a:stretch/>
        </p:blipFill>
        <p:spPr bwMode="auto">
          <a:xfrm rot="5400000">
            <a:off x="2546716" y="-851476"/>
            <a:ext cx="5497587" cy="898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Mild for Some, Deadly for Others (1/3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5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8610600" y="1508760"/>
            <a:ext cx="419100" cy="435864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" name="Rectangle 12"/>
          <p:cNvSpPr/>
          <p:nvPr/>
        </p:nvSpPr>
        <p:spPr bwMode="auto">
          <a:xfrm rot="16200000">
            <a:off x="7365711" y="4455086"/>
            <a:ext cx="927677" cy="27241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Rectangle 13"/>
          <p:cNvSpPr/>
          <p:nvPr/>
        </p:nvSpPr>
        <p:spPr bwMode="auto">
          <a:xfrm rot="16200000">
            <a:off x="7223066" y="3825220"/>
            <a:ext cx="703693" cy="280685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8" y="881199"/>
            <a:ext cx="7809051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ensity per St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6224" y="2205593"/>
            <a:ext cx="714375" cy="381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801550" y="1674767"/>
            <a:ext cx="7809050" cy="429168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gray">
          <a:xfrm>
            <a:off x="1577293" y="6217094"/>
            <a:ext cx="7033307" cy="390510"/>
          </a:xfrm>
          <a:prstGeom prst="roundRect">
            <a:avLst/>
          </a:prstGeom>
          <a:solidFill>
            <a:srgbClr val="00B0F0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</a:rPr>
              <a:t>Social distance is key to stop the spread of the disease. More populated cities will have higher rates of infections and people have a higher degree of interaction than in less populated ones</a:t>
            </a:r>
          </a:p>
        </p:txBody>
      </p:sp>
      <p:cxnSp>
        <p:nvCxnSpPr>
          <p:cNvPr id="17" name="Straight Connector 16"/>
          <p:cNvCxnSpPr/>
          <p:nvPr/>
        </p:nvCxnSpPr>
        <p:spPr bwMode="auto">
          <a:xfrm flipV="1">
            <a:off x="9532574" y="1559135"/>
            <a:ext cx="1404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9469029" y="1280310"/>
            <a:ext cx="1531091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</a:rPr>
              <a:t>Death rate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9823094" y="171450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9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0" name="Rounded Rectangular Callout 19"/>
          <p:cNvSpPr/>
          <p:nvPr/>
        </p:nvSpPr>
        <p:spPr bwMode="auto">
          <a:xfrm>
            <a:off x="4895318" y="2376033"/>
            <a:ext cx="1297062" cy="261855"/>
          </a:xfrm>
          <a:prstGeom prst="wedgeRoundRectCallout">
            <a:avLst>
              <a:gd name="adj1" fmla="val 48517"/>
              <a:gd name="adj2" fmla="val -149284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High</a:t>
            </a:r>
            <a:r>
              <a:rPr kumimoji="0" lang="en-US" sz="8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population density cities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3" name="Oval 42"/>
          <p:cNvSpPr/>
          <p:nvPr/>
        </p:nvSpPr>
        <p:spPr bwMode="auto">
          <a:xfrm>
            <a:off x="9823094" y="193935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2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4" name="Oval 43"/>
          <p:cNvSpPr/>
          <p:nvPr/>
        </p:nvSpPr>
        <p:spPr bwMode="auto">
          <a:xfrm>
            <a:off x="9823094" y="216420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5" name="Oval 44"/>
          <p:cNvSpPr/>
          <p:nvPr/>
        </p:nvSpPr>
        <p:spPr bwMode="auto">
          <a:xfrm>
            <a:off x="9823094" y="238906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6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6" name="Oval 45"/>
          <p:cNvSpPr/>
          <p:nvPr/>
        </p:nvSpPr>
        <p:spPr bwMode="auto">
          <a:xfrm>
            <a:off x="9823094" y="2613916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9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7" name="Oval 46"/>
          <p:cNvSpPr/>
          <p:nvPr/>
        </p:nvSpPr>
        <p:spPr bwMode="auto">
          <a:xfrm>
            <a:off x="9823094" y="283877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0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8" name="Oval 47"/>
          <p:cNvSpPr/>
          <p:nvPr/>
        </p:nvSpPr>
        <p:spPr bwMode="auto">
          <a:xfrm>
            <a:off x="9823094" y="30636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7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9" name="Oval 48"/>
          <p:cNvSpPr/>
          <p:nvPr/>
        </p:nvSpPr>
        <p:spPr bwMode="auto">
          <a:xfrm>
            <a:off x="9823094" y="328847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1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0" name="Oval 49"/>
          <p:cNvSpPr/>
          <p:nvPr/>
        </p:nvSpPr>
        <p:spPr bwMode="auto">
          <a:xfrm>
            <a:off x="9823094" y="351333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1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1" name="Oval 50"/>
          <p:cNvSpPr/>
          <p:nvPr/>
        </p:nvSpPr>
        <p:spPr bwMode="auto">
          <a:xfrm>
            <a:off x="9823094" y="3738186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8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2" name="Oval 51"/>
          <p:cNvSpPr/>
          <p:nvPr/>
        </p:nvSpPr>
        <p:spPr bwMode="auto">
          <a:xfrm>
            <a:off x="9823094" y="396304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5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3" name="Oval 52"/>
          <p:cNvSpPr/>
          <p:nvPr/>
        </p:nvSpPr>
        <p:spPr bwMode="auto">
          <a:xfrm>
            <a:off x="9823094" y="418789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6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4" name="Oval 53"/>
          <p:cNvSpPr/>
          <p:nvPr/>
        </p:nvSpPr>
        <p:spPr bwMode="auto">
          <a:xfrm>
            <a:off x="9823094" y="441274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9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5" name="Oval 54"/>
          <p:cNvSpPr/>
          <p:nvPr/>
        </p:nvSpPr>
        <p:spPr bwMode="auto">
          <a:xfrm>
            <a:off x="9823094" y="463760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30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6" name="Oval 55"/>
          <p:cNvSpPr/>
          <p:nvPr/>
        </p:nvSpPr>
        <p:spPr bwMode="auto">
          <a:xfrm>
            <a:off x="9823094" y="4862456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6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7" name="Oval 56"/>
          <p:cNvSpPr/>
          <p:nvPr/>
        </p:nvSpPr>
        <p:spPr bwMode="auto">
          <a:xfrm>
            <a:off x="9823094" y="508731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8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8" name="Oval 57"/>
          <p:cNvSpPr/>
          <p:nvPr/>
        </p:nvSpPr>
        <p:spPr bwMode="auto">
          <a:xfrm>
            <a:off x="9823094" y="53121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4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61" name="Oval 60"/>
          <p:cNvSpPr/>
          <p:nvPr/>
        </p:nvSpPr>
        <p:spPr bwMode="auto">
          <a:xfrm>
            <a:off x="9823094" y="553701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2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62" name="Oval 61"/>
          <p:cNvSpPr/>
          <p:nvPr/>
        </p:nvSpPr>
        <p:spPr bwMode="auto">
          <a:xfrm>
            <a:off x="9823094" y="576187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8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63" name="Oval 62"/>
          <p:cNvSpPr/>
          <p:nvPr/>
        </p:nvSpPr>
        <p:spPr bwMode="auto">
          <a:xfrm>
            <a:off x="9823094" y="5986721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30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6795329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523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Mild for Some, Deadly for Others (2/3) 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50" y="1295400"/>
            <a:ext cx="1779725" cy="2352674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Ag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6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gray">
          <a:xfrm>
            <a:off x="801549" y="3867150"/>
            <a:ext cx="1779725" cy="2352674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Pre-Existing Conditions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gray">
          <a:xfrm>
            <a:off x="801548" y="814524"/>
            <a:ext cx="7809051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ge &amp; Pre-Existing Conditions</a:t>
            </a:r>
          </a:p>
        </p:txBody>
      </p:sp>
      <p:pic>
        <p:nvPicPr>
          <p:cNvPr id="53258" name="Picture 10" descr="COVID-19_age_decease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96" t="12699" r="10194" b="12215"/>
          <a:stretch/>
        </p:blipFill>
        <p:spPr bwMode="auto">
          <a:xfrm>
            <a:off x="2867027" y="1315922"/>
            <a:ext cx="5472641" cy="242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Isosceles Triangle 12"/>
          <p:cNvSpPr/>
          <p:nvPr/>
        </p:nvSpPr>
        <p:spPr bwMode="auto">
          <a:xfrm rot="5400000">
            <a:off x="7942557" y="2328290"/>
            <a:ext cx="1946252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Isosceles Triangle 13"/>
          <p:cNvSpPr/>
          <p:nvPr/>
        </p:nvSpPr>
        <p:spPr bwMode="auto">
          <a:xfrm rot="5400000">
            <a:off x="7942557" y="4900040"/>
            <a:ext cx="1946252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906780" y="3757612"/>
            <a:ext cx="10447020" cy="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9227821" y="1572590"/>
            <a:ext cx="2461260" cy="179829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B0F0"/>
                </a:solidFill>
              </a:rPr>
              <a:t>A recent study examined data from individuals who tested positive for COVID-19 in 38 countries and found that </a:t>
            </a:r>
            <a:r>
              <a:rPr lang="en-US" sz="1600" b="1" dirty="0">
                <a:solidFill>
                  <a:schemeClr val="accent1"/>
                </a:solidFill>
              </a:rPr>
              <a:t>risk of death </a:t>
            </a:r>
            <a:r>
              <a:rPr lang="en-US" sz="1600" dirty="0">
                <a:solidFill>
                  <a:srgbClr val="00B0F0"/>
                </a:solidFill>
              </a:rPr>
              <a:t>from the disease </a:t>
            </a:r>
            <a:r>
              <a:rPr lang="en-US" sz="1600" b="1" dirty="0">
                <a:solidFill>
                  <a:schemeClr val="accent1"/>
                </a:solidFill>
              </a:rPr>
              <a:t>rose</a:t>
            </a:r>
            <a:r>
              <a:rPr lang="en-US" sz="1600" b="1" dirty="0">
                <a:solidFill>
                  <a:srgbClr val="00B0F0"/>
                </a:solidFill>
              </a:rPr>
              <a:t> </a:t>
            </a:r>
            <a:r>
              <a:rPr lang="en-US" sz="1600" dirty="0">
                <a:solidFill>
                  <a:srgbClr val="00B0F0"/>
                </a:solidFill>
              </a:rPr>
              <a:t>with each decade of </a:t>
            </a:r>
            <a:r>
              <a:rPr lang="en-US" sz="1600" b="1" dirty="0">
                <a:solidFill>
                  <a:schemeClr val="accent1"/>
                </a:solidFill>
              </a:rPr>
              <a:t>age</a:t>
            </a: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9230582" y="4144340"/>
            <a:ext cx="2458500" cy="179829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B0F0"/>
                </a:solidFill>
              </a:rPr>
              <a:t>During current global pandemic, physicians </a:t>
            </a:r>
            <a:r>
              <a:rPr lang="en-US" sz="1600" b="1" dirty="0">
                <a:solidFill>
                  <a:schemeClr val="accent1"/>
                </a:solidFill>
              </a:rPr>
              <a:t>require guidance </a:t>
            </a:r>
            <a:r>
              <a:rPr lang="en-US" sz="1600" dirty="0">
                <a:solidFill>
                  <a:srgbClr val="00B0F0"/>
                </a:solidFill>
              </a:rPr>
              <a:t>for their patient populations in order to adequately </a:t>
            </a:r>
            <a:r>
              <a:rPr lang="en-US" sz="1600" b="1" dirty="0">
                <a:solidFill>
                  <a:schemeClr val="accent1"/>
                </a:solidFill>
              </a:rPr>
              <a:t>balance the risk of exposure </a:t>
            </a:r>
            <a:r>
              <a:rPr lang="en-US" sz="1600" dirty="0">
                <a:solidFill>
                  <a:srgbClr val="00B0F0"/>
                </a:solidFill>
              </a:rPr>
              <a:t>with the harms of withholding or delaying care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0A5CD8C-2FD2-455C-B552-FC2A22F1EE0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68416" y="3781670"/>
            <a:ext cx="5571251" cy="3076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863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Mild for Some, Deadly for Others (3/3) 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Increase In Death Probability Due to Pre-Existing Conditions</a:t>
            </a:r>
          </a:p>
        </p:txBody>
      </p:sp>
      <p:sp>
        <p:nvSpPr>
          <p:cNvPr id="60" name="Rectangle 2"/>
          <p:cNvSpPr>
            <a:spLocks noChangeArrowheads="1"/>
          </p:cNvSpPr>
          <p:nvPr/>
        </p:nvSpPr>
        <p:spPr bwMode="gray">
          <a:xfrm>
            <a:off x="6254094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Pre-Existing Conditions Vs Death Correl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7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54283" name="Picture 11" descr="Death probability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8" t="20998" r="11315"/>
          <a:stretch/>
        </p:blipFill>
        <p:spPr bwMode="auto">
          <a:xfrm>
            <a:off x="895349" y="1430868"/>
            <a:ext cx="5129303" cy="5116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4" name="Picture 12" descr="COVID-19 Correlation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6" t="39111" r="10191"/>
          <a:stretch/>
        </p:blipFill>
        <p:spPr bwMode="auto">
          <a:xfrm>
            <a:off x="6254094" y="2108200"/>
            <a:ext cx="5175972" cy="4438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8693554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01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5307" name="Picture 11" descr="COVID19_bar_top_states_mortality_rates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70" r="10365" b="-10"/>
          <a:stretch/>
        </p:blipFill>
        <p:spPr bwMode="auto">
          <a:xfrm rot="5400000">
            <a:off x="2347098" y="-890373"/>
            <a:ext cx="5443154" cy="8867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Deadliest Variable, Health Care Overcapacity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8700800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Mortality Rate per St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8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cxnSp>
        <p:nvCxnSpPr>
          <p:cNvPr id="10" name="Straight Connector 9"/>
          <p:cNvCxnSpPr/>
          <p:nvPr/>
        </p:nvCxnSpPr>
        <p:spPr bwMode="auto">
          <a:xfrm flipV="1">
            <a:off x="9804418" y="1466460"/>
            <a:ext cx="1404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2"/>
          <p:cNvSpPr>
            <a:spLocks noChangeArrowheads="1"/>
          </p:cNvSpPr>
          <p:nvPr/>
        </p:nvSpPr>
        <p:spPr bwMode="gray">
          <a:xfrm>
            <a:off x="9740873" y="1187635"/>
            <a:ext cx="1531091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</a:rPr>
              <a:t>Death rate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10094938" y="16403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52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10094938" y="18720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33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10094938" y="21036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10094938" y="23352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10094938" y="25669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9" name="Oval 18"/>
          <p:cNvSpPr/>
          <p:nvPr/>
        </p:nvSpPr>
        <p:spPr bwMode="auto">
          <a:xfrm>
            <a:off x="10094938" y="27985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10094938" y="30302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9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1" name="Oval 20"/>
          <p:cNvSpPr/>
          <p:nvPr/>
        </p:nvSpPr>
        <p:spPr bwMode="auto">
          <a:xfrm>
            <a:off x="10094938" y="32618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6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10094938" y="34934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6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10094938" y="37251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4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10094938" y="39567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3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10094938" y="41884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1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6" name="Oval 25"/>
          <p:cNvSpPr/>
          <p:nvPr/>
        </p:nvSpPr>
        <p:spPr bwMode="auto">
          <a:xfrm>
            <a:off x="10094938" y="44200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1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7" name="Oval 26"/>
          <p:cNvSpPr/>
          <p:nvPr/>
        </p:nvSpPr>
        <p:spPr bwMode="auto">
          <a:xfrm>
            <a:off x="10094938" y="46516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10094938" y="48833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9" name="Oval 28"/>
          <p:cNvSpPr/>
          <p:nvPr/>
        </p:nvSpPr>
        <p:spPr bwMode="auto">
          <a:xfrm>
            <a:off x="10094938" y="51149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0" name="Oval 29"/>
          <p:cNvSpPr/>
          <p:nvPr/>
        </p:nvSpPr>
        <p:spPr bwMode="auto">
          <a:xfrm>
            <a:off x="10094938" y="53466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1" name="Oval 30"/>
          <p:cNvSpPr/>
          <p:nvPr/>
        </p:nvSpPr>
        <p:spPr bwMode="auto">
          <a:xfrm>
            <a:off x="10094938" y="55782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19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10094938" y="58098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18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10094938" y="6041533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17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9298459" y="157949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6610865" y="184368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6245684" y="207532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6165307" y="253860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6190019" y="2333373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133701" y="2792921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5973773" y="301198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5643576" y="3259891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5390987" y="3715135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5236893" y="395676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4984295" y="416876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4883058" y="4653619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4831976" y="4888667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4781113" y="5118570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4744527" y="5340961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4643066" y="5601967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4508441" y="581026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4459953" y="603036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6" name="Rectangle 54">
            <a:extLst>
              <a:ext uri="{FF2B5EF4-FFF2-40B4-BE49-F238E27FC236}">
                <a16:creationId xmlns:a16="http://schemas.microsoft.com/office/drawing/2014/main" id="{BDA92998-4971-4DEE-BA24-D8D55914952C}"/>
              </a:ext>
            </a:extLst>
          </p:cNvPr>
          <p:cNvSpPr/>
          <p:nvPr/>
        </p:nvSpPr>
        <p:spPr bwMode="auto">
          <a:xfrm>
            <a:off x="581916" y="3793350"/>
            <a:ext cx="176427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588832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mXzeI7fyv.nyS71k.1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EIbA5Fps8k2F4boVX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ofeAngFK8Dsd.fbJMw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PH6hqUGnPyrGlccULc6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jT46zZorPDBQ1WGBK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w9Ft_MCVtxPrOzO62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934eHdAXUr9lHyAMb7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Cd7slbNBPbVmBoQPv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XInQ9v4uFwGPzWA52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o3BU5l6rQRhdErG0ml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o3BU5l6rQRhdErG0ml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heme/theme1.xml><?xml version="1.0" encoding="utf-8"?>
<a:theme xmlns:a="http://schemas.openxmlformats.org/drawingml/2006/main" name="22_ICG_Pres (A4)">
  <a:themeElements>
    <a:clrScheme name="ICG_Pres (A4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ICG Fonts">
      <a:majorFont>
        <a:latin typeface="Arial"/>
        <a:ea typeface="STKaiti"/>
        <a:cs typeface=""/>
      </a:majorFont>
      <a:minorFont>
        <a:latin typeface="Arial"/>
        <a:ea typeface="ST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Aqua">
      <a:srgbClr val="00B0B9"/>
    </a:custClr>
    <a:custClr name="Aqua Tint">
      <a:srgbClr val="99DFE3"/>
    </a:custClr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</a:theme>
</file>

<file path=ppt/theme/theme2.xml><?xml version="1.0" encoding="utf-8"?>
<a:theme xmlns:a="http://schemas.openxmlformats.org/drawingml/2006/main" name="23_ICG_Pres (A4)">
  <a:themeElements>
    <a:clrScheme name="ICG_Pres (A4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ICG Fonts">
      <a:majorFont>
        <a:latin typeface="Arial"/>
        <a:ea typeface="STKaiti"/>
        <a:cs typeface=""/>
      </a:majorFont>
      <a:minorFont>
        <a:latin typeface="Arial"/>
        <a:ea typeface="ST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Aqua">
      <a:srgbClr val="00B0B9"/>
    </a:custClr>
    <a:custClr name="Aqua Tint">
      <a:srgbClr val="99DFE3"/>
    </a:custClr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XMLData TextToDisplay="%DOCUMENTGUID%">{00000000-0000-0000-0000-000000000000}</XMLData>
</file>

<file path=customXml/item2.xml><?xml version="1.0" encoding="utf-8"?>
<XMLData TextToDisplay="%CLASSIFICATIONDATETIME%">15:04 15/05/2020</XMLData>
</file>

<file path=customXml/item3.xml><?xml version="1.0" encoding="utf-8"?>
<XMLData TextToDisplay="RightsWATCHMark">8|CITI-No PII-Internal|{00000000-0000-0000-0000-000000000000}</XMLData>
</file>

<file path=customXml/itemProps1.xml><?xml version="1.0" encoding="utf-8"?>
<ds:datastoreItem xmlns:ds="http://schemas.openxmlformats.org/officeDocument/2006/customXml" ds:itemID="{FD7E0AFF-3FA4-4F0C-88BE-E2813770563F}">
  <ds:schemaRefs/>
</ds:datastoreItem>
</file>

<file path=customXml/itemProps2.xml><?xml version="1.0" encoding="utf-8"?>
<ds:datastoreItem xmlns:ds="http://schemas.openxmlformats.org/officeDocument/2006/customXml" ds:itemID="{9DD98D10-4B39-4445-A0E8-745469C6D8B3}">
  <ds:schemaRefs/>
</ds:datastoreItem>
</file>

<file path=customXml/itemProps3.xml><?xml version="1.0" encoding="utf-8"?>
<ds:datastoreItem xmlns:ds="http://schemas.openxmlformats.org/officeDocument/2006/customXml" ds:itemID="{7DE38A00-790F-4C6D-98C3-457AEE210FE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itibanamex</Template>
  <TotalTime>3954</TotalTime>
  <Words>1042</Words>
  <Application>Microsoft Office PowerPoint</Application>
  <PresentationFormat>Panorámica</PresentationFormat>
  <Paragraphs>177</Paragraphs>
  <Slides>12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</vt:lpstr>
      <vt:lpstr>22_ICG_Pres (A4)</vt:lpstr>
      <vt:lpstr>23_ICG_Pres (A4)</vt:lpstr>
      <vt:lpstr>think-cell Slide</vt:lpstr>
      <vt:lpstr>Covid-19: A Quick Overview to The Current Pandemic</vt:lpstr>
      <vt:lpstr>Covid – 19: Disease Overview</vt:lpstr>
      <vt:lpstr>Covid – 19: How Contagious It Can Be?</vt:lpstr>
      <vt:lpstr>Covid – 19: No Clear Answer as to Who is More Prune to Get Infected  </vt:lpstr>
      <vt:lpstr>Covid – 19: Is Age a Defining Factor  to Getting Infected?</vt:lpstr>
      <vt:lpstr>Covid – 19: Mild for Some, Deadly for Others (1/3)</vt:lpstr>
      <vt:lpstr>Covid – 19: Mild for Some, Deadly for Others (2/3) </vt:lpstr>
      <vt:lpstr>Covid – 19: Mild for Some, Deadly for Others (3/3) </vt:lpstr>
      <vt:lpstr>Covid – 19: Deadliest Variable, Health Care Overcapacity</vt:lpstr>
      <vt:lpstr>Covid – 19: How Is The Disease Spread Across Mexico</vt:lpstr>
      <vt:lpstr>Conclusions: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ce, Damian</dc:creator>
  <cp:lastModifiedBy>ODIN EFREN</cp:lastModifiedBy>
  <cp:revision>250</cp:revision>
  <cp:lastPrinted>2019-05-21T14:44:04Z</cp:lastPrinted>
  <dcterms:created xsi:type="dcterms:W3CDTF">2019-01-10T15:19:59Z</dcterms:created>
  <dcterms:modified xsi:type="dcterms:W3CDTF">2020-05-16T06:4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ProviderInitializationData">
    <vt:lpwstr>https://collaborate.citi.net</vt:lpwstr>
  </property>
  <property fmtid="{D5CDD505-2E9C-101B-9397-08002B2CF9AE}" pid="3" name="Offisync_ServerID">
    <vt:lpwstr>00b1d6dc-ee2a-4d3b-9525-c4bf36ddb271</vt:lpwstr>
  </property>
  <property fmtid="{D5CDD505-2E9C-101B-9397-08002B2CF9AE}" pid="4" name="Jive_VersionGuid">
    <vt:lpwstr>9e8d0c0f-d257-4f26-a220-9d8c23646af6</vt:lpwstr>
  </property>
  <property fmtid="{D5CDD505-2E9C-101B-9397-08002B2CF9AE}" pid="5" name="Offisync_UniqueId">
    <vt:lpwstr>414515</vt:lpwstr>
  </property>
  <property fmtid="{D5CDD505-2E9C-101B-9397-08002B2CF9AE}" pid="6" name="Offisync_UpdateToken">
    <vt:lpwstr>5</vt:lpwstr>
  </property>
  <property fmtid="{D5CDD505-2E9C-101B-9397-08002B2CF9AE}" pid="7" name="Jive_LatestUserAccountName">
    <vt:lpwstr>mc98261</vt:lpwstr>
  </property>
  <property fmtid="{D5CDD505-2E9C-101B-9397-08002B2CF9AE}" pid="8" name="RightsWATCHMark">
    <vt:lpwstr>8|CITI-No PII-Internal|{00000000-0000-0000-0000-000000000000}</vt:lpwstr>
  </property>
  <property fmtid="{D5CDD505-2E9C-101B-9397-08002B2CF9AE}" pid="9" name="Jive_ModifiedButNotPublished">
    <vt:lpwstr>True</vt:lpwstr>
  </property>
</Properties>
</file>